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bleStyles.xml" ContentType="application/vnd.openxmlformats-officedocument.presentationml.tableStyles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256" r:id="rId3"/>
    <p:sldId id="266" r:id="rId4"/>
    <p:sldId id="1777" r:id="rId5"/>
    <p:sldId id="1778" r:id="rId6"/>
    <p:sldId id="261" r:id="rId7"/>
  </p:sldIdLst>
  <p:sldSz cx="12192000" cy="6858000"/>
  <p:notesSz cx="6858000" cy="9144000"/>
  <p:custDataLst>
    <p:tags r:id="rId1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29E"/>
    <a:srgbClr val="A20000"/>
    <a:srgbClr val="A40000"/>
    <a:srgbClr val="9E0000"/>
    <a:srgbClr val="C7450B"/>
    <a:srgbClr val="E24E0C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2" autoAdjust="0"/>
    <p:restoredTop sz="96182" autoAdjust="0"/>
  </p:normalViewPr>
  <p:slideViewPr>
    <p:cSldViewPr snapToGrid="0">
      <p:cViewPr varScale="1">
        <p:scale>
          <a:sx n="88" d="100"/>
          <a:sy n="88" d="100"/>
        </p:scale>
        <p:origin x="96" y="16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handoutMaster" Target="handoutMasters/handoutMaster1.xml"/><Relationship Id="rId8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6" Type="http://schemas.openxmlformats.org/officeDocument/2006/relationships/tags" Target="tags/tag4.xml"/><Relationship Id="rId15" Type="http://schemas.openxmlformats.org/officeDocument/2006/relationships/customXml" Target="../customXml/item3.xml"/><Relationship Id="rId14" Type="http://schemas.openxmlformats.org/officeDocument/2006/relationships/customXml" Target="../customXml/item2.xml"/><Relationship Id="rId13" Type="http://schemas.openxmlformats.org/officeDocument/2006/relationships/customXml" Target="../customXml/item1.xml"/><Relationship Id="rId12" Type="http://schemas.openxmlformats.org/officeDocument/2006/relationships/tableStyles" Target="tableStyles.xml"/><Relationship Id="rId11" Type="http://schemas.openxmlformats.org/officeDocument/2006/relationships/viewProps" Target="viewProps.xml"/><Relationship Id="rId10" Type="http://schemas.openxmlformats.org/officeDocument/2006/relationships/presProps" Target="presProps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水中的倒影&#10;&#10;中度可信度描述已自动生成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800" y="0"/>
            <a:ext cx="12242800" cy="6858000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797246" y="4326826"/>
            <a:ext cx="1945954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669925" y="1130300"/>
            <a:ext cx="4905898" cy="2803123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837829"/>
            <a:ext cx="49058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13003" y="5841004"/>
            <a:ext cx="49058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水中的倒影&#10;&#10;中度可信度描述已自动生成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800" y="0"/>
            <a:ext cx="12242800" cy="6858000"/>
          </a:xfrm>
          <a:prstGeom prst="rect">
            <a:avLst/>
          </a:prstGeom>
        </p:spPr>
      </p:pic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3386407" y="2982020"/>
            <a:ext cx="5419185" cy="895350"/>
          </a:xfrm>
        </p:spPr>
        <p:txBody>
          <a:bodyPr anchor="b">
            <a:normAutofit/>
          </a:bodyPr>
          <a:lstStyle>
            <a:lvl1pPr algn="ctr">
              <a:defRPr sz="240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3386407" y="3877370"/>
            <a:ext cx="5419185" cy="1015623"/>
          </a:xfrm>
        </p:spPr>
        <p:txBody>
          <a:bodyPr anchor="t">
            <a:norm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水中的倒影&#10;&#10;中度可信度描述已自动生成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800" y="0"/>
            <a:ext cx="12242800" cy="6858000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147747" y="1130301"/>
            <a:ext cx="5372741" cy="3177280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147747" y="4992307"/>
            <a:ext cx="537274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accent1">
                    <a:lumMod val="50000"/>
                  </a:schemeClr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6147749" y="4696036"/>
            <a:ext cx="5372741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7" Type="http://schemas.openxmlformats.org/officeDocument/2006/relationships/slideLayout" Target="../slideLayouts/slideLayout1.xml"/><Relationship Id="rId6" Type="http://schemas.openxmlformats.org/officeDocument/2006/relationships/themeOverride" Target="../theme/themeOverride1.xml"/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3" Type="http://schemas.openxmlformats.org/officeDocument/2006/relationships/image" Target="../media/image1.jpeg"/><Relationship Id="rId2" Type="http://schemas.openxmlformats.org/officeDocument/2006/relationships/image" Target="../media/image2.emf"/><Relationship Id="rId1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6.png"/><Relationship Id="rId1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6.png"/><Relationship Id="rId1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6.png"/><Relationship Id="rId1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.vml"/><Relationship Id="rId4" Type="http://schemas.openxmlformats.org/officeDocument/2006/relationships/slideLayout" Target="../slideLayouts/slideLayout6.xml"/><Relationship Id="rId3" Type="http://schemas.openxmlformats.org/officeDocument/2006/relationships/themeOverride" Target="../theme/themeOverride2.xml"/><Relationship Id="rId2" Type="http://schemas.openxmlformats.org/officeDocument/2006/relationships/image" Target="../media/image2.emf"/><Relationship Id="rId1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1" imgW="9525" imgH="9525" progId="TCLayout.ActiveDocument.1">
                  <p:embed/>
                </p:oleObj>
              </mc:Choice>
              <mc:Fallback>
                <p:oleObj name="think-cell Slide" r:id="rId1" imgW="9525" imgH="9525" progId="TCLayout.ActiveDocument.1">
                  <p:embed/>
                  <p:pic>
                    <p:nvPicPr>
                      <p:cNvPr id="0" name="图片 -1" hidden="1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pic>
        <p:nvPicPr>
          <p:cNvPr id="11" name="图片 10" descr="水中的倒影&#10;&#10;中度可信度描述已自动生成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800" y="0"/>
            <a:ext cx="12242800" cy="6858000"/>
          </a:xfrm>
          <a:prstGeom prst="rect">
            <a:avLst/>
          </a:prstGeom>
        </p:spPr>
      </p:pic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3303270" y="3336290"/>
            <a:ext cx="5585460" cy="558800"/>
          </a:xfrm>
        </p:spPr>
        <p:txBody>
          <a:bodyPr anchor="ctr" anchorCtr="0"/>
          <a:lstStyle/>
          <a:p>
            <a:pPr algn="ctr"/>
            <a:r>
              <a:rPr lang="en-US" sz="1800" dirty="0">
                <a:sym typeface="+mn-ea"/>
              </a:rPr>
              <a:t>Paper No: </a:t>
            </a:r>
            <a:r>
              <a:rPr lang="en-US" sz="1800" dirty="0">
                <a:solidFill>
                  <a:schemeClr val="bg1">
                    <a:lumMod val="75000"/>
                  </a:schemeClr>
                </a:solidFill>
                <a:sym typeface="+mn-ea"/>
              </a:rPr>
              <a:t>Your Number Goes Here</a:t>
            </a:r>
            <a:endParaRPr lang="en-US" altLang="zh-CN" sz="1800" dirty="0">
              <a:solidFill>
                <a:schemeClr val="bg1">
                  <a:lumMod val="75000"/>
                </a:schemeClr>
              </a:solidFill>
              <a:cs typeface="+mn-ea"/>
              <a:sym typeface="+mn-ea"/>
            </a:endParaRPr>
          </a:p>
        </p:txBody>
      </p:sp>
      <p:sp>
        <p:nvSpPr>
          <p:cNvPr id="6" name="标题 5"/>
          <p:cNvSpPr>
            <a:spLocks noGrp="1"/>
          </p:cNvSpPr>
          <p:nvPr>
            <p:ph type="ctrTitle"/>
          </p:nvPr>
        </p:nvSpPr>
        <p:spPr>
          <a:xfrm>
            <a:off x="1264603" y="2227580"/>
            <a:ext cx="9662795" cy="1108710"/>
          </a:xfrm>
        </p:spPr>
        <p:txBody>
          <a:bodyPr anchor="ctr" anchorCtr="0">
            <a:normAutofit fontScale="90000"/>
          </a:bodyPr>
          <a:lstStyle/>
          <a:p>
            <a:pPr algn="ctr"/>
            <a:r>
              <a:rPr lang="en-US" sz="5400" dirty="0">
                <a:cs typeface="Calibri Light" panose="020F0302020204030204" pitchFamily="34" charset="0"/>
                <a:sym typeface="+mn-ea"/>
              </a:rPr>
              <a:t>the Title of Your Presentation</a:t>
            </a:r>
            <a:endParaRPr lang="zh-CN" altLang="en-US" b="0" spc="1200" dirty="0">
              <a:solidFill>
                <a:schemeClr val="accent1">
                  <a:lumMod val="50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0"/>
          </p:nvPr>
        </p:nvSpPr>
        <p:spPr>
          <a:xfrm>
            <a:off x="3642995" y="4300855"/>
            <a:ext cx="4906010" cy="1114425"/>
          </a:xfrm>
        </p:spPr>
        <p:txBody>
          <a:bodyPr/>
          <a:lstStyle/>
          <a:p>
            <a:pPr algn="ctr">
              <a:buFont typeface="Arial" panose="020B0604020202020204" pitchFamily="34" charset="0"/>
              <a:buNone/>
              <a:defRPr/>
            </a:pPr>
            <a:r>
              <a:rPr lang="en-US" sz="1600" dirty="0">
                <a:solidFill>
                  <a:schemeClr val="bg1"/>
                </a:solidFill>
                <a:sym typeface="+mn-ea"/>
              </a:rPr>
              <a:t>Your name</a:t>
            </a:r>
            <a:endParaRPr lang="en-US" sz="1600" dirty="0">
              <a:solidFill>
                <a:schemeClr val="bg1"/>
              </a:solidFill>
            </a:endParaRPr>
          </a:p>
          <a:p>
            <a:pPr algn="ctr">
              <a:buFont typeface="Arial" panose="020B0604020202020204" pitchFamily="34" charset="0"/>
              <a:buNone/>
              <a:defRPr/>
            </a:pPr>
            <a:r>
              <a:rPr lang="en-US" sz="1600" dirty="0">
                <a:solidFill>
                  <a:schemeClr val="bg1"/>
                </a:solidFill>
                <a:sym typeface="+mn-ea"/>
              </a:rPr>
              <a:t>Your organization</a:t>
            </a:r>
            <a:endParaRPr lang="en-US" sz="1600" dirty="0">
              <a:solidFill>
                <a:schemeClr val="bg1"/>
              </a:solidFill>
            </a:endParaRPr>
          </a:p>
          <a:p>
            <a:pPr algn="ctr">
              <a:buFont typeface="Arial" panose="020B0604020202020204" pitchFamily="34" charset="0"/>
              <a:buNone/>
              <a:defRPr/>
            </a:pPr>
            <a:r>
              <a:rPr lang="en-US" sz="1600" dirty="0">
                <a:solidFill>
                  <a:schemeClr val="bg1"/>
                </a:solidFill>
                <a:sym typeface="+mn-ea"/>
              </a:rPr>
              <a:t>Your email</a:t>
            </a:r>
            <a:endParaRPr lang="en-US" altLang="zh-CN" sz="1600" dirty="0">
              <a:solidFill>
                <a:schemeClr val="bg1"/>
              </a:solidFill>
              <a:cs typeface="+mn-ea"/>
              <a:sym typeface="+mn-ea"/>
            </a:endParaRPr>
          </a:p>
        </p:txBody>
      </p:sp>
      <p:sp>
        <p:nvSpPr>
          <p:cNvPr id="9" name="矩形: 圆角 8"/>
          <p:cNvSpPr/>
          <p:nvPr/>
        </p:nvSpPr>
        <p:spPr>
          <a:xfrm>
            <a:off x="669925" y="4187999"/>
            <a:ext cx="2037144" cy="558799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pic>
        <p:nvPicPr>
          <p:cNvPr id="10" name="图片 9" descr="IEEE-INDIN－path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7005" y="352743"/>
            <a:ext cx="2823517" cy="720000"/>
          </a:xfrm>
          <a:prstGeom prst="rect">
            <a:avLst/>
          </a:prstGeom>
        </p:spPr>
      </p:pic>
      <p:pic>
        <p:nvPicPr>
          <p:cNvPr id="12" name="图片 11" descr="IEEE-logo白色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3845" y="352743"/>
            <a:ext cx="2131224" cy="720000"/>
          </a:xfrm>
          <a:prstGeom prst="rect">
            <a:avLst/>
          </a:prstGeom>
        </p:spPr>
      </p:pic>
      <p:sp>
        <p:nvSpPr>
          <p:cNvPr id="13" name="Rectangle 4"/>
          <p:cNvSpPr/>
          <p:nvPr/>
        </p:nvSpPr>
        <p:spPr>
          <a:xfrm>
            <a:off x="9857719" y="353274"/>
            <a:ext cx="2052891" cy="1442361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dirty="0">
                <a:solidFill>
                  <a:schemeClr val="tx1"/>
                </a:solidFill>
              </a:rPr>
              <a:t>Your Organization Logo Goes Here</a:t>
            </a:r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>
                <a:solidFill>
                  <a:schemeClr val="tx1"/>
                </a:solidFill>
              </a:rPr>
              <a:t>(optional)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585595" y="6245860"/>
            <a:ext cx="9754235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000" b="1">
                <a:solidFill>
                  <a:schemeClr val="bg1"/>
                </a:solidFill>
                <a:latin typeface="Arial Black" panose="020B0A04020102020204" charset="0"/>
                <a:cs typeface="Arial Black" panose="020B0A04020102020204" charset="0"/>
              </a:rPr>
              <a:t>The 22nd lEEE International Conference on</a:t>
            </a:r>
            <a:r>
              <a:rPr lang="en-US" altLang="zh-CN" sz="2000" b="1">
                <a:solidFill>
                  <a:schemeClr val="bg1"/>
                </a:solidFill>
                <a:latin typeface="Arial Black" panose="020B0A04020102020204" charset="0"/>
                <a:cs typeface="Arial Black" panose="020B0A04020102020204" charset="0"/>
              </a:rPr>
              <a:t> </a:t>
            </a:r>
            <a:r>
              <a:rPr lang="zh-CN" altLang="en-US" sz="2000" b="1">
                <a:solidFill>
                  <a:schemeClr val="bg1"/>
                </a:solidFill>
                <a:latin typeface="Arial Black" panose="020B0A04020102020204" charset="0"/>
                <a:cs typeface="Arial Black" panose="020B0A04020102020204" charset="0"/>
              </a:rPr>
              <a:t>Industrial informatics</a:t>
            </a:r>
            <a:endParaRPr lang="zh-CN" altLang="en-US" sz="2000" b="1">
              <a:solidFill>
                <a:schemeClr val="bg1"/>
              </a:solidFill>
              <a:latin typeface="Arial Black" panose="020B0A04020102020204" charset="0"/>
              <a:cs typeface="Arial Black" panose="020B0A04020102020204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9282113" y="6240463"/>
            <a:ext cx="2909887" cy="206375"/>
          </a:xfrm>
        </p:spPr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51" name="文本框 50"/>
          <p:cNvSpPr txBox="1"/>
          <p:nvPr/>
        </p:nvSpPr>
        <p:spPr>
          <a:xfrm>
            <a:off x="4086860" y="6176010"/>
            <a:ext cx="510540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400" b="1">
                <a:solidFill>
                  <a:schemeClr val="tx1"/>
                </a:solidFill>
                <a:latin typeface="Arial Black" panose="020B0A04020102020204" charset="0"/>
                <a:cs typeface="Arial Black" panose="020B0A04020102020204" charset="0"/>
              </a:rPr>
              <a:t>The 22nd lEEE International Conference on</a:t>
            </a:r>
            <a:r>
              <a:rPr lang="en-US" altLang="zh-CN" sz="1400" b="1">
                <a:solidFill>
                  <a:schemeClr val="tx1"/>
                </a:solidFill>
                <a:latin typeface="Arial Black" panose="020B0A04020102020204" charset="0"/>
                <a:cs typeface="Arial Black" panose="020B0A04020102020204" charset="0"/>
              </a:rPr>
              <a:t> </a:t>
            </a:r>
            <a:r>
              <a:rPr lang="zh-CN" altLang="en-US" sz="1400" b="1">
                <a:solidFill>
                  <a:schemeClr val="tx1"/>
                </a:solidFill>
                <a:latin typeface="Arial Black" panose="020B0A04020102020204" charset="0"/>
                <a:cs typeface="Arial Black" panose="020B0A04020102020204" charset="0"/>
              </a:rPr>
              <a:t>Industrial informatics</a:t>
            </a:r>
            <a:endParaRPr lang="zh-CN" altLang="en-US" sz="1400" b="1">
              <a:solidFill>
                <a:schemeClr val="tx1"/>
              </a:solidFill>
              <a:latin typeface="Arial Black" panose="020B0A04020102020204" charset="0"/>
              <a:cs typeface="Arial Black" panose="020B0A04020102020204" charset="0"/>
            </a:endParaRPr>
          </a:p>
        </p:txBody>
      </p:sp>
      <p:pic>
        <p:nvPicPr>
          <p:cNvPr id="52" name="图片 51" descr="IEEE logo原色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6995" y="6073775"/>
            <a:ext cx="1617345" cy="588645"/>
          </a:xfrm>
          <a:prstGeom prst="rect">
            <a:avLst/>
          </a:prstGeom>
        </p:spPr>
      </p:pic>
      <p:pic>
        <p:nvPicPr>
          <p:cNvPr id="53" name="图片 52" descr="dddsd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4340" y="6073775"/>
            <a:ext cx="2278380" cy="628015"/>
          </a:xfrm>
          <a:prstGeom prst="rect">
            <a:avLst/>
          </a:prstGeom>
        </p:spPr>
      </p:pic>
      <p:sp>
        <p:nvSpPr>
          <p:cNvPr id="54" name="文本框 53"/>
          <p:cNvSpPr txBox="1"/>
          <p:nvPr/>
        </p:nvSpPr>
        <p:spPr>
          <a:xfrm>
            <a:off x="1049655" y="2320925"/>
            <a:ext cx="10333355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dirty="0">
                <a:sym typeface="+mn-ea"/>
              </a:rPr>
              <a:t>What is the background of this project?</a:t>
            </a:r>
            <a:endParaRPr lang="en-US" dirty="0"/>
          </a:p>
          <a:p>
            <a:pPr lvl="1"/>
            <a:r>
              <a:rPr lang="en-US" dirty="0">
                <a:sym typeface="+mn-ea"/>
              </a:rPr>
              <a:t>What did you do?</a:t>
            </a:r>
            <a:endParaRPr lang="en-US" dirty="0"/>
          </a:p>
          <a:p>
            <a:pPr lvl="1"/>
            <a:r>
              <a:rPr lang="en-US" dirty="0">
                <a:sym typeface="+mn-ea"/>
              </a:rPr>
              <a:t>Why did you do it?</a:t>
            </a:r>
            <a:endParaRPr lang="en-US" dirty="0"/>
          </a:p>
          <a:p>
            <a:pPr lvl="1"/>
            <a:r>
              <a:rPr lang="en-US" dirty="0">
                <a:sym typeface="+mn-ea"/>
              </a:rPr>
              <a:t>What did you expect as an outcome before you started?</a:t>
            </a:r>
            <a:endParaRPr lang="zh-CN" altLang="en-US"/>
          </a:p>
        </p:txBody>
      </p:sp>
      <p:sp>
        <p:nvSpPr>
          <p:cNvPr id="55" name="标题 54"/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cxnSp>
        <p:nvCxnSpPr>
          <p:cNvPr id="56" name="直接连接符 55"/>
          <p:cNvCxnSpPr/>
          <p:nvPr/>
        </p:nvCxnSpPr>
        <p:spPr>
          <a:xfrm>
            <a:off x="201930" y="1054735"/>
            <a:ext cx="11565890" cy="0"/>
          </a:xfrm>
          <a:prstGeom prst="line">
            <a:avLst/>
          </a:prstGeom>
          <a:ln>
            <a:solidFill>
              <a:srgbClr val="00529E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9282113" y="6240463"/>
            <a:ext cx="2909887" cy="206375"/>
          </a:xfrm>
        </p:spPr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51" name="文本框 50"/>
          <p:cNvSpPr txBox="1"/>
          <p:nvPr/>
        </p:nvSpPr>
        <p:spPr>
          <a:xfrm>
            <a:off x="4086860" y="6176010"/>
            <a:ext cx="510540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400" b="1">
                <a:solidFill>
                  <a:schemeClr val="tx1"/>
                </a:solidFill>
                <a:latin typeface="Arial Black" panose="020B0A04020102020204" charset="0"/>
                <a:cs typeface="Arial Black" panose="020B0A04020102020204" charset="0"/>
              </a:rPr>
              <a:t>The 22nd lEEE International Conference on</a:t>
            </a:r>
            <a:r>
              <a:rPr lang="en-US" altLang="zh-CN" sz="1400" b="1">
                <a:solidFill>
                  <a:schemeClr val="tx1"/>
                </a:solidFill>
                <a:latin typeface="Arial Black" panose="020B0A04020102020204" charset="0"/>
                <a:cs typeface="Arial Black" panose="020B0A04020102020204" charset="0"/>
              </a:rPr>
              <a:t> </a:t>
            </a:r>
            <a:r>
              <a:rPr lang="zh-CN" altLang="en-US" sz="1400" b="1">
                <a:solidFill>
                  <a:schemeClr val="tx1"/>
                </a:solidFill>
                <a:latin typeface="Arial Black" panose="020B0A04020102020204" charset="0"/>
                <a:cs typeface="Arial Black" panose="020B0A04020102020204" charset="0"/>
              </a:rPr>
              <a:t>Industrial informatics</a:t>
            </a:r>
            <a:endParaRPr lang="zh-CN" altLang="en-US" sz="1400" b="1">
              <a:solidFill>
                <a:schemeClr val="tx1"/>
              </a:solidFill>
              <a:latin typeface="Arial Black" panose="020B0A04020102020204" charset="0"/>
              <a:cs typeface="Arial Black" panose="020B0A04020102020204" charset="0"/>
            </a:endParaRPr>
          </a:p>
        </p:txBody>
      </p:sp>
      <p:pic>
        <p:nvPicPr>
          <p:cNvPr id="52" name="图片 51" descr="IEEE logo原色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6995" y="6073775"/>
            <a:ext cx="1617345" cy="588645"/>
          </a:xfrm>
          <a:prstGeom prst="rect">
            <a:avLst/>
          </a:prstGeom>
        </p:spPr>
      </p:pic>
      <p:pic>
        <p:nvPicPr>
          <p:cNvPr id="53" name="图片 52" descr="dddsd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4340" y="6073775"/>
            <a:ext cx="2278380" cy="628015"/>
          </a:xfrm>
          <a:prstGeom prst="rect">
            <a:avLst/>
          </a:prstGeom>
        </p:spPr>
      </p:pic>
      <p:sp>
        <p:nvSpPr>
          <p:cNvPr id="54" name="文本框 53"/>
          <p:cNvSpPr txBox="1"/>
          <p:nvPr/>
        </p:nvSpPr>
        <p:spPr>
          <a:xfrm>
            <a:off x="1049655" y="1415415"/>
            <a:ext cx="1033335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dirty="0">
                <a:sym typeface="+mn-ea"/>
              </a:rPr>
              <a:t>What did you discover/find out?</a:t>
            </a:r>
            <a:endParaRPr lang="zh-CN" altLang="en-US"/>
          </a:p>
        </p:txBody>
      </p:sp>
      <p:sp>
        <p:nvSpPr>
          <p:cNvPr id="55" name="标题 54"/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cs typeface="Calibri Light" panose="020F0302020204030204" pitchFamily="34" charset="0"/>
                <a:sym typeface="+mn-ea"/>
              </a:rPr>
              <a:t>Results</a:t>
            </a:r>
            <a:endParaRPr lang="en-US" dirty="0"/>
          </a:p>
        </p:txBody>
      </p:sp>
      <p:cxnSp>
        <p:nvCxnSpPr>
          <p:cNvPr id="2" name="直接连接符 1"/>
          <p:cNvCxnSpPr/>
          <p:nvPr/>
        </p:nvCxnSpPr>
        <p:spPr>
          <a:xfrm>
            <a:off x="201930" y="1054735"/>
            <a:ext cx="11565890" cy="0"/>
          </a:xfrm>
          <a:prstGeom prst="line">
            <a:avLst/>
          </a:prstGeom>
          <a:ln>
            <a:solidFill>
              <a:srgbClr val="00529E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9282113" y="6240463"/>
            <a:ext cx="2909887" cy="206375"/>
          </a:xfrm>
        </p:spPr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51" name="文本框 50"/>
          <p:cNvSpPr txBox="1"/>
          <p:nvPr/>
        </p:nvSpPr>
        <p:spPr>
          <a:xfrm>
            <a:off x="4086860" y="6176010"/>
            <a:ext cx="510540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400" b="1">
                <a:solidFill>
                  <a:schemeClr val="tx1"/>
                </a:solidFill>
                <a:latin typeface="Arial Black" panose="020B0A04020102020204" charset="0"/>
                <a:cs typeface="Arial Black" panose="020B0A04020102020204" charset="0"/>
              </a:rPr>
              <a:t>The 22nd lEEE International Conference on</a:t>
            </a:r>
            <a:r>
              <a:rPr lang="en-US" altLang="zh-CN" sz="1400" b="1">
                <a:solidFill>
                  <a:schemeClr val="tx1"/>
                </a:solidFill>
                <a:latin typeface="Arial Black" panose="020B0A04020102020204" charset="0"/>
                <a:cs typeface="Arial Black" panose="020B0A04020102020204" charset="0"/>
              </a:rPr>
              <a:t> </a:t>
            </a:r>
            <a:r>
              <a:rPr lang="zh-CN" altLang="en-US" sz="1400" b="1">
                <a:solidFill>
                  <a:schemeClr val="tx1"/>
                </a:solidFill>
                <a:latin typeface="Arial Black" panose="020B0A04020102020204" charset="0"/>
                <a:cs typeface="Arial Black" panose="020B0A04020102020204" charset="0"/>
              </a:rPr>
              <a:t>Industrial informatics</a:t>
            </a:r>
            <a:endParaRPr lang="zh-CN" altLang="en-US" sz="1400" b="1">
              <a:solidFill>
                <a:schemeClr val="tx1"/>
              </a:solidFill>
              <a:latin typeface="Arial Black" panose="020B0A04020102020204" charset="0"/>
              <a:cs typeface="Arial Black" panose="020B0A04020102020204" charset="0"/>
            </a:endParaRPr>
          </a:p>
        </p:txBody>
      </p:sp>
      <p:pic>
        <p:nvPicPr>
          <p:cNvPr id="52" name="图片 51" descr="IEEE logo原色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6995" y="6073775"/>
            <a:ext cx="1617345" cy="588645"/>
          </a:xfrm>
          <a:prstGeom prst="rect">
            <a:avLst/>
          </a:prstGeom>
        </p:spPr>
      </p:pic>
      <p:pic>
        <p:nvPicPr>
          <p:cNvPr id="53" name="图片 52" descr="dddsd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4340" y="6073775"/>
            <a:ext cx="2278380" cy="628015"/>
          </a:xfrm>
          <a:prstGeom prst="rect">
            <a:avLst/>
          </a:prstGeom>
        </p:spPr>
      </p:pic>
      <p:sp>
        <p:nvSpPr>
          <p:cNvPr id="54" name="文本框 53"/>
          <p:cNvSpPr txBox="1"/>
          <p:nvPr/>
        </p:nvSpPr>
        <p:spPr>
          <a:xfrm>
            <a:off x="1049655" y="1415415"/>
            <a:ext cx="10333355" cy="175323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dirty="0">
                <a:sym typeface="+mn-ea"/>
              </a:rPr>
              <a:t>What does your paper conclude?</a:t>
            </a:r>
            <a:endParaRPr lang="en-US" dirty="0"/>
          </a:p>
          <a:p>
            <a:r>
              <a:rPr lang="en-US" dirty="0">
                <a:sym typeface="+mn-ea"/>
              </a:rPr>
              <a:t>What further research is required?</a:t>
            </a:r>
            <a:endParaRPr lang="en-US" dirty="0"/>
          </a:p>
          <a:p>
            <a:r>
              <a:rPr lang="en-US" dirty="0">
                <a:sym typeface="+mn-ea"/>
              </a:rPr>
              <a:t>Are there any differences from what you expected?</a:t>
            </a:r>
            <a:endParaRPr lang="en-US" dirty="0"/>
          </a:p>
          <a:p>
            <a:endParaRPr lang="en-US" dirty="0"/>
          </a:p>
          <a:p>
            <a:pPr marL="0" indent="0" algn="ctr">
              <a:buNone/>
            </a:pPr>
            <a:r>
              <a:rPr lang="en-US" i="1" dirty="0">
                <a:solidFill>
                  <a:srgbClr val="FF0000"/>
                </a:solidFill>
                <a:sym typeface="+mn-ea"/>
              </a:rPr>
              <a:t>You can add a few slides. Please notice that each paper will be allotted </a:t>
            </a:r>
            <a:r>
              <a:rPr lang="en-US" altLang="zh-CN" b="1" i="1" dirty="0">
                <a:solidFill>
                  <a:srgbClr val="FF0000"/>
                </a:solidFill>
                <a:sym typeface="+mn-ea"/>
              </a:rPr>
              <a:t>1</a:t>
            </a:r>
            <a:r>
              <a:rPr lang="en-US" b="1" i="1" dirty="0">
                <a:solidFill>
                  <a:srgbClr val="FF0000"/>
                </a:solidFill>
                <a:sym typeface="+mn-ea"/>
              </a:rPr>
              <a:t>0 minutes </a:t>
            </a:r>
            <a:r>
              <a:rPr lang="en-US" i="1" dirty="0">
                <a:solidFill>
                  <a:srgbClr val="FF0000"/>
                </a:solidFill>
                <a:sym typeface="+mn-ea"/>
              </a:rPr>
              <a:t>for presentation</a:t>
            </a:r>
            <a:r>
              <a:rPr lang="en-US" b="1" i="1" dirty="0">
                <a:solidFill>
                  <a:srgbClr val="FF0000"/>
                </a:solidFill>
                <a:sym typeface="+mn-ea"/>
              </a:rPr>
              <a:t> </a:t>
            </a:r>
            <a:r>
              <a:rPr lang="en-US" i="1" dirty="0">
                <a:solidFill>
                  <a:srgbClr val="FF0000"/>
                </a:solidFill>
                <a:sym typeface="+mn-ea"/>
              </a:rPr>
              <a:t>and an additional </a:t>
            </a:r>
            <a:r>
              <a:rPr lang="en-US" altLang="zh-CN" b="1" i="1" dirty="0">
                <a:solidFill>
                  <a:srgbClr val="FF0000"/>
                </a:solidFill>
                <a:sym typeface="+mn-ea"/>
              </a:rPr>
              <a:t>5</a:t>
            </a:r>
            <a:r>
              <a:rPr lang="en-US" b="1" i="1" dirty="0">
                <a:solidFill>
                  <a:srgbClr val="FF0000"/>
                </a:solidFill>
                <a:sym typeface="+mn-ea"/>
              </a:rPr>
              <a:t> minutes </a:t>
            </a:r>
            <a:r>
              <a:rPr lang="en-US" i="1" dirty="0">
                <a:solidFill>
                  <a:srgbClr val="FF0000"/>
                </a:solidFill>
                <a:sym typeface="+mn-ea"/>
              </a:rPr>
              <a:t>for questions and answers. </a:t>
            </a:r>
            <a:endParaRPr lang="zh-CN" altLang="en-US"/>
          </a:p>
        </p:txBody>
      </p:sp>
      <p:sp>
        <p:nvSpPr>
          <p:cNvPr id="55" name="标题 54"/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cs typeface="Calibri Light" panose="020F0302020204030204" pitchFamily="34" charset="0"/>
                <a:sym typeface="+mn-ea"/>
              </a:rPr>
              <a:t>Conclusions/Recommendations</a:t>
            </a:r>
            <a:endParaRPr lang="en-US" dirty="0"/>
          </a:p>
        </p:txBody>
      </p:sp>
      <p:cxnSp>
        <p:nvCxnSpPr>
          <p:cNvPr id="2" name="直接连接符 1"/>
          <p:cNvCxnSpPr/>
          <p:nvPr/>
        </p:nvCxnSpPr>
        <p:spPr>
          <a:xfrm>
            <a:off x="201930" y="1054735"/>
            <a:ext cx="11565890" cy="0"/>
          </a:xfrm>
          <a:prstGeom prst="line">
            <a:avLst/>
          </a:prstGeom>
          <a:ln>
            <a:solidFill>
              <a:srgbClr val="00529E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1" imgW="9525" imgH="9525" progId="TCLayout.ActiveDocument.1">
                  <p:embed/>
                </p:oleObj>
              </mc:Choice>
              <mc:Fallback>
                <p:oleObj name="think-cell Slide" r:id="rId1" imgW="9525" imgH="9525" progId="TCLayout.ActiveDocument.1">
                  <p:embed/>
                  <p:pic>
                    <p:nvPicPr>
                      <p:cNvPr id="0" name="图片 -1" hidden="1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610547" y="1130301"/>
            <a:ext cx="5372741" cy="3177280"/>
          </a:xfrm>
        </p:spPr>
        <p:txBody>
          <a:bodyPr/>
          <a:lstStyle/>
          <a:p>
            <a:pPr algn="l"/>
            <a:r>
              <a:rPr lang="en-US" altLang="zh-CN" sz="9600" dirty="0">
                <a:latin typeface="+mn-lt"/>
                <a:ea typeface="+mn-ea"/>
                <a:cs typeface="+mn-ea"/>
                <a:sym typeface="+mn-lt"/>
              </a:rPr>
              <a:t>Thanks</a:t>
            </a:r>
            <a:br>
              <a:rPr lang="en-US" altLang="zh-CN" sz="9600" dirty="0">
                <a:latin typeface="+mn-lt"/>
                <a:ea typeface="+mn-ea"/>
                <a:cs typeface="+mn-ea"/>
                <a:sym typeface="+mn-lt"/>
              </a:rPr>
            </a:b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tags/tag4.xml><?xml version="1.0" encoding="utf-8"?>
<p:tagLst xmlns:p="http://schemas.openxmlformats.org/presentationml/2006/main">
  <p:tag name="ISLIDE.SHOWCASE" val="f8efa80e-a44e-46d9-9648-4656164fabc6"/>
  <p:tag name="commondata" val="eyJoZGlkIjoiMzEwNTM5NzYwMDRjMzkwZTVkZjY2ODkwMGIxNGU0OTUifQ=="/>
</p:tagLst>
</file>

<file path=ppt/theme/theme1.xml><?xml version="1.0" encoding="utf-8"?>
<a:theme xmlns:a="http://schemas.openxmlformats.org/drawingml/2006/main" name="OfficePLUS主题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23296"/>
      </a:accent1>
      <a:accent2>
        <a:srgbClr val="0BFFFF"/>
      </a:accent2>
      <a:accent3>
        <a:srgbClr val="047CFD"/>
      </a:accent3>
      <a:accent4>
        <a:srgbClr val="0467FF"/>
      </a:accent4>
      <a:accent5>
        <a:srgbClr val="010855"/>
      </a:accent5>
      <a:accent6>
        <a:srgbClr val="768394"/>
      </a:accent6>
      <a:hlink>
        <a:srgbClr val="4276AA"/>
      </a:hlink>
      <a:folHlink>
        <a:srgbClr val="BFBFBF"/>
      </a:folHlink>
    </a:clrScheme>
    <a:fontScheme name="fd035vz0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23296"/>
    </a:accent1>
    <a:accent2>
      <a:srgbClr val="0BFFFF"/>
    </a:accent2>
    <a:accent3>
      <a:srgbClr val="047CFD"/>
    </a:accent3>
    <a:accent4>
      <a:srgbClr val="0467FF"/>
    </a:accent4>
    <a:accent5>
      <a:srgbClr val="010855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23296"/>
    </a:accent1>
    <a:accent2>
      <a:srgbClr val="0BFFFF"/>
    </a:accent2>
    <a:accent3>
      <a:srgbClr val="047CFD"/>
    </a:accent3>
    <a:accent4>
      <a:srgbClr val="0467FF"/>
    </a:accent4>
    <a:accent5>
      <a:srgbClr val="010855"/>
    </a:accent5>
    <a:accent6>
      <a:srgbClr val="768394"/>
    </a:accent6>
    <a:hlink>
      <a:srgbClr val="4276AA"/>
    </a:hlink>
    <a:folHlink>
      <a:srgbClr val="BFBFB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��< ? x m l   v e r s i o n = " 1 . 0 " ? > < c t : c o n t e n t T y p e S c h e m a   c t : _ = " "   m a : _ = " "   m a : c o n t e n t T y p e N a m e = " D o c u m e n t "   m a : c o n t e n t T y p e I D = " 0 x 0 1 0 1 0 0 D 1 4 4 3 A 8 E F 6 2 D E 4 4 4 B 1 F F 0 7 9 1 7 E 2 2 E F 7 2 "   m a : c o n t e n t T y p e V e r s i o n = " 1 7 "   m a : c o n t e n t T y p e D e s c r i p t i o n = " C r e a t e   a   n e w   d o c u m e n t . "   m a : c o n t e n t T y p e S c o p e = " "   m a : v e r s i o n I D = " a e 8 0 9 6 2 6 c 8 a b f 5 6 8 b 6 a 4 1 5 2 2 6 a f 2 1 c e d "   x m l n s : c t = " h t t p : / / s c h e m a s . m i c r o s o f t . c o m / o f f i c e / 2 0 0 6 / m e t a d a t a / c o n t e n t T y p e "   x m l n s : m a = " h t t p : / / s c h e m a s . m i c r o s o f t . c o m / o f f i c e / 2 0 0 6 / m e t a d a t a / p r o p e r t i e s / m e t a A t t r i b u t e s " >  
 < x s d : s c h e m a   t a r g e t N a m e s p a c e = " h t t p : / / s c h e m a s . m i c r o s o f t . c o m / o f f i c e / 2 0 0 6 / m e t a d a t a / p r o p e r t i e s "   m a : r o o t = " t r u e "   m a : f i e l d s I D = " 1 f f e 3 d b 4 c 8 c 9 7 a 2 4 d a 9 8 b 2 b 5 f 9 6 3 e c 2 8 "   n s 1 : _ = " "   n s 2 : _ = " "   n s 3 : _ = " "   x m l n s : x s d = " h t t p : / / w w w . w 3 . o r g / 2 0 0 1 / X M L S c h e m a "   x m l n s : x s = " h t t p : / / w w w . w 3 . o r g / 2 0 0 1 / X M L S c h e m a "   x m l n s : p = " h t t p : / / s c h e m a s . m i c r o s o f t . c o m / o f f i c e / 2 0 0 6 / m e t a d a t a / p r o p e r t i e s "   x m l n s : n s 1 = " h t t p : / / s c h e m a s . m i c r o s o f t . c o m / s h a r e p o i n t / v 3 "   x m l n s : n s 2 = " 0 a 5 c 0 d e a - e 5 d 7 - 4 2 2 8 - 9 2 5 6 - 3 7 9 3 b b 4 2 f a a 5 "   x m l n s : n s 3 = " 9 7 9 3 4 b 4 b - e b a 6 - 4 8 6 d - b f c 1 - 4 b 8 e 3 f e 3 9 0 9 2 " >  
 < x s d : i m p o r t   n a m e s p a c e = " h t t p : / / s c h e m a s . m i c r o s o f t . c o m / s h a r e p o i n t / v 3 " / >  
 < x s d : i m p o r t   n a m e s p a c e = " 0 a 5 c 0 d e a - e 5 d 7 - 4 2 2 8 - 9 2 5 6 - 3 7 9 3 b b 4 2 f a a 5 " / >  
 < x s d : i m p o r t   n a m e s p a c e = " 9 7 9 3 4 b 4 b - e b a 6 - 4 8 6 d - b f c 1 - 4 b 8 e 3 f e 3 9 0 9 2 " / >  
 < x s d : e l e m e n t   n a m e = " p r o p e r t i e s " >  
 < x s d : c o m p l e x T y p e >  
 < x s d : s e q u e n c e >  
 < x s d : e l e m e n t   n a m e = " d o c u m e n t M a n a g e m e n t " >  
 < x s d : c o m p l e x T y p e >  
 < x s d : a l l >  
 < x s d : e l e m e n t   r e f = " n s 2 : O n e N o t e F l u i d _ F i l e O r d e r "   m i n O c c u r s = " 0 " / >  
 < x s d : e l e m e n t   r e f = " n s 2 : M e d i a S e r v i c e M e t a d a t a "   m i n O c c u r s = " 0 " / >  
 < x s d : e l e m e n t   r e f = " n s 2 : M e d i a S e r v i c e F a s t M e t a d a t a "   m i n O c c u r s = " 0 " / >  
 < x s d : e l e m e n t   r e f = " n s 2 : M e d i a S e r v i c e D a t e T a k e n "   m i n O c c u r s = " 0 " / >  
 < x s d : e l e m e n t   r e f = " n s 2 : M e d i a L e n g t h I n S e c o n d s "   m i n O c c u r s = " 0 " / >  
 < x s d : e l e m e n t   r e f = " n s 3 : S h a r e d W i t h U s e r s "   m i n O c c u r s = " 0 " / >  
 < x s d : e l e m e n t   r e f = " n s 3 : S h a r e d W i t h D e t a i l s "   m i n O c c u r s = " 0 " / >  
 < x s d : e l e m e n t   r e f = " n s 2 : M e d i a S e r v i c e A u t o K e y P o i n t s "   m i n O c c u r s = " 0 " / >  
 < x s d : e l e m e n t   r e f = " n s 2 : M e d i a S e r v i c e K e y P o i n t s "   m i n O c c u r s = " 0 " / >  
 < x s d : e l e m e n t   r e f = " n s 2 : l c f 7 6 f 1 5 5 c e d 4 d d c b 4 0 9 7 1 3 4 f f 3 c 3 3 2 f "   m i n O c c u r s = " 0 " / >  
 < x s d : e l e m e n t   r e f = " n s 3 : T a x C a t c h A l l "   m i n O c c u r s = " 0 " / >  
 < x s d : e l e m e n t   r e f = " n s 2 : M e d i a S e r v i c e O C R "   m i n O c c u r s = " 0 " / >  
 < x s d : e l e m e n t   r e f = " n s 2 : M e d i a S e r v i c e G e n e r a t i o n T i m e "   m i n O c c u r s = " 0 " / >  
 < x s d : e l e m e n t   r e f = " n s 2 : M e d i a S e r v i c e E v e n t H a s h C o d e "   m i n O c c u r s = " 0 " / >  
 < x s d : e l e m e n t   r e f = " n s 1 : _ i p _ U n i f i e d C o m p l i a n c e P o l i c y P r o p e r t i e s "   m i n O c c u r s = " 0 " / >  
 < x s d : e l e m e n t   r e f = " n s 1 : _ i p _ U n i f i e d C o m p l i a n c e P o l i c y U I A c t i o n "   m i n O c c u r s = " 0 " / >  
 < / x s d : a l l >  
 < / x s d : c o m p l e x T y p e >  
 < / x s d : e l e m e n t >  
 < / x s d : s e q u e n c e >  
 < / x s d : c o m p l e x T y p e >  
 < / x s d : e l e m e n t >  
 < / x s d : s c h e m a >  
 < x s d : s c h e m a   t a r g e t N a m e s p a c e = " h t t p : / / s c h e m a s . m i c r o s o f t . c o m / s h a r e p o i n t / v 3 "   e l e m e n t F o r m D e f a u l t = " q u a l i f i e d "   x m l n s : x s d = " h t t p : / / w w w . w 3 . o r g / 2 0 0 1 / X M L S c h e m a "   x m l n s : x s = " h t t p : / / w w w . w 3 . o r g / 2 0 0 1 / X M L S c h e m a "   x m l n s : d m s = " h t t p : / / s c h e m a s . m i c r o s o f t . c o m / o f f i c e / 2 0 0 6 / d o c u m e n t M a n a g e m e n t / t y p e s "   x m l n s : p c = " h t t p : / / s c h e m a s . m i c r o s o f t . c o m / o f f i c e / i n f o p a t h / 2 0 0 7 / P a r t n e r C o n t r o l s " >  
 < x s d : i m p o r t   n a m e s p a c e = " h t t p : / / s c h e m a s . m i c r o s o f t . c o m / o f f i c e / 2 0 0 6 / d o c u m e n t M a n a g e m e n t / t y p e s " / >  
 < x s d : i m p o r t   n a m e s p a c e = " h t t p : / / s c h e m a s . m i c r o s o f t . c o m / o f f i c e / i n f o p a t h / 2 0 0 7 / P a r t n e r C o n t r o l s " / >  
 < x s d : e l e m e n t   n a m e = " _ i p _ U n i f i e d C o m p l i a n c e P o l i c y P r o p e r t i e s "   m a : i n d e x = " 2 3 "   n i l l a b l e = " t r u e "   m a : d i s p l a y N a m e = " U n i f i e d   C o m p l i a n c e   P o l i c y   P r o p e r t i e s "   m a : h i d d e n = " t r u e "   m a : i n t e r n a l N a m e = " _ i p _ U n i f i e d C o m p l i a n c e P o l i c y P r o p e r t i e s " >  
 < x s d : s i m p l e T y p e >  
 < x s d : r e s t r i c t i o n   b a s e = " d m s : N o t e " / >  
 < / x s d : s i m p l e T y p e >  
 < / x s d : e l e m e n t >  
 < x s d : e l e m e n t   n a m e = " _ i p _ U n i f i e d C o m p l i a n c e P o l i c y U I A c t i o n "   m a : i n d e x = " 2 4 "   n i l l a b l e = " t r u e "   m a : d i s p l a y N a m e = " U n i f i e d   C o m p l i a n c e   P o l i c y   U I   A c t i o n "   m a : h i d d e n = " t r u e "   m a : i n t e r n a l N a m e = " _ i p _ U n i f i e d C o m p l i a n c e P o l i c y U I A c t i o n " >  
 < x s d : s i m p l e T y p e >  
 < x s d : r e s t r i c t i o n   b a s e = " d m s : T e x t " / >  
 < / x s d : s i m p l e T y p e >  
 < / x s d : e l e m e n t >  
 < / x s d : s c h e m a >  
 < x s d : s c h e m a   t a r g e t N a m e s p a c e = " 0 a 5 c 0 d e a - e 5 d 7 - 4 2 2 8 - 9 2 5 6 - 3 7 9 3 b b 4 2 f a a 5 "   e l e m e n t F o r m D e f a u l t = " q u a l i f i e d "   x m l n s : x s d = " h t t p : / / w w w . w 3 . o r g / 2 0 0 1 / X M L S c h e m a "   x m l n s : x s = " h t t p : / / w w w . w 3 . o r g / 2 0 0 1 / X M L S c h e m a "   x m l n s : d m s = " h t t p : / / s c h e m a s . m i c r o s o f t . c o m / o f f i c e / 2 0 0 6 / d o c u m e n t M a n a g e m e n t / t y p e s "   x m l n s : p c = " h t t p : / / s c h e m a s . m i c r o s o f t . c o m / o f f i c e / i n f o p a t h / 2 0 0 7 / P a r t n e r C o n t r o l s " >  
 < x s d : i m p o r t   n a m e s p a c e = " h t t p : / / s c h e m a s . m i c r o s o f t . c o m / o f f i c e / 2 0 0 6 / d o c u m e n t M a n a g e m e n t / t y p e s " / >  
 < x s d : i m p o r t   n a m e s p a c e = " h t t p : / / s c h e m a s . m i c r o s o f t . c o m / o f f i c e / i n f o p a t h / 2 0 0 7 / P a r t n e r C o n t r o l s " / >  
 < x s d : e l e m e n t   n a m e = " O n e N o t e F l u i d _ F i l e O r d e r "   m a : i n d e x = " 8 "   n i l l a b l e = " t r u e "   m a : d i s p l a y N a m e = " O n e N o t e F l u i d _ F i l e O r d e r "   m a : i n t e r n a l N a m e = " O n e N o t e F l u i d _ F i l e O r d e r " >  
 < x s d : s i m p l e T y p e >  
 < x s d : r e s t r i c t i o n   b a s e = " d m s : T e x t " >  
 < x s d : m a x L e n g t h   v a l u e = " 2 5 5 " / >  
 < / x s d : r e s t r i c t i o n >  
 < / x s d : s i m p l e T y p e >  
 < / x s d : e l e m e n t >  
 < x s d : e l e m e n t   n a m e = " M e d i a S e r v i c e M e t a d a t a "   m a : i n d e x = " 9 "   n i l l a b l e = " t r u e "   m a : d i s p l a y N a m e = " M e d i a S e r v i c e M e t a d a t a "   m a : h i d d e n = " t r u e "   m a : i n t e r n a l N a m e = " M e d i a S e r v i c e M e t a d a t a "   m a : r e a d O n l y = " t r u e " >  
 < x s d : s i m p l e T y p e >  
 < x s d : r e s t r i c t i o n   b a s e = " d m s : N o t e " / >  
 < / x s d : s i m p l e T y p e >  
 < / x s d : e l e m e n t >  
 < x s d : e l e m e n t   n a m e = " M e d i a S e r v i c e F a s t M e t a d a t a "   m a : i n d e x = " 1 0 "   n i l l a b l e = " t r u e "   m a : d i s p l a y N a m e = " M e d i a S e r v i c e F a s t M e t a d a t a "   m a : h i d d e n = " t r u e "   m a : i n t e r n a l N a m e = " M e d i a S e r v i c e F a s t M e t a d a t a "   m a : r e a d O n l y = " t r u e " >  
 < x s d : s i m p l e T y p e >  
 < x s d : r e s t r i c t i o n   b a s e = " d m s : N o t e " / >  
 < / x s d : s i m p l e T y p e >  
 < / x s d : e l e m e n t >  
 < x s d : e l e m e n t   n a m e = " M e d i a S e r v i c e D a t e T a k e n "   m a : i n d e x = " 1 1 "   n i l l a b l e = " t r u e "   m a : d i s p l a y N a m e = " M e d i a S e r v i c e D a t e T a k e n "   m a : h i d d e n = " t r u e "   m a : i n t e r n a l N a m e = " M e d i a S e r v i c e D a t e T a k e n "   m a : r e a d O n l y = " t r u e " >  
 < x s d : s i m p l e T y p e >  
 < x s d : r e s t r i c t i o n   b a s e = " d m s : T e x t " / >  
 < / x s d : s i m p l e T y p e >  
 < / x s d : e l e m e n t >  
 < x s d : e l e m e n t   n a m e = " M e d i a L e n g t h I n S e c o n d s "   m a : i n d e x = " 1 2 "   n i l l a b l e = " t r u e "   m a : d i s p l a y N a m e = " M e d i a L e n g t h I n S e c o n d s "   m a : h i d d e n = " t r u e "   m a : i n t e r n a l N a m e = " M e d i a L e n g t h I n S e c o n d s "   m a : r e a d O n l y = " t r u e " >  
 < x s d : s i m p l e T y p e >  
 < x s d : r e s t r i c t i o n   b a s e = " d m s : U n k n o w n " / >  
 < / x s d : s i m p l e T y p e >  
 < / x s d : e l e m e n t >  
 < x s d : e l e m e n t   n a m e = " M e d i a S e r v i c e A u t o K e y P o i n t s "   m a : i n d e x = " 1 5 "   n i l l a b l e = " t r u e "   m a : d i s p l a y N a m e = " M e d i a S e r v i c e A u t o K e y P o i n t s "   m a : h i d d e n = " t r u e "   m a : i n t e r n a l N a m e = " M e d i a S e r v i c e A u t o K e y P o i n t s "   m a : r e a d O n l y = " t r u e " >  
 < x s d : s i m p l e T y p e >  
 < x s d : r e s t r i c t i o n   b a s e = " d m s : N o t e " / >  
 < / x s d : s i m p l e T y p e >  
 < / x s d : e l e m e n t >  
 < x s d : e l e m e n t   n a m e = " M e d i a S e r v i c e K e y P o i n t s "   m a : i n d e x = " 1 6 "   n i l l a b l e = " t r u e "   m a : d i s p l a y N a m e = " K e y P o i n t s "   m a : i n t e r n a l N a m e = " M e d i a S e r v i c e K e y P o i n t s "   m a : r e a d O n l y = " t r u e " >  
 < x s d : s i m p l e T y p e >  
 < x s d : r e s t r i c t i o n   b a s e = " d m s : N o t e " >  
 < x s d : m a x L e n g t h   v a l u e = " 2 5 5 " / >  
 < / x s d : r e s t r i c t i o n >  
 < / x s d : s i m p l e T y p e >  
 < / x s d : e l e m e n t >  
 < x s d : e l e m e n t   n a m e = " l c f 7 6 f 1 5 5 c e d 4 d d c b 4 0 9 7 1 3 4 f f 3 c 3 3 2 f "   m a : i n d e x = " 1 8 "   n i l l a b l e = " t r u e "   m a : t a x o n o m y = " t r u e "   m a : i n t e r n a l N a m e = " l c f 7 6 f 1 5 5 c e d 4 d d c b 4 0 9 7 1 3 4 f f 3 c 3 3 2 f "   m a : t a x o n o m y F i e l d N a m e = " M e d i a S e r v i c e I m a g e T a g s "   m a : d i s p l a y N a m e = " I m a g e   T a g s "   m a : r e a d O n l y = " f a l s e "   m a : f i e l d I d = " { 5 c f 7 6 f 1 5 - 5 c e d - 4 d d c - b 4 0 9 - 7 1 3 4 f f 3 c 3 3 2 f } "   m a : t a x o n o m y M u l t i = " t r u e "   m a : s s p I d = " e 3 8 5 f b 4 0 - 5 2 d 4 - 4 f a e - 9 c 5 b - 3 e 8 f f 8 a 5 8 7 8 e "   m a : t e r m S e t I d = " 0 9 8 1 4 c d 3 - 5 6 8 e - f e 9 0 - 9 8 1 4 - 8 d 6 2 1 f f 8 f b 8 4 "   m a : a n c h o r I d = " f b a 5 4 f b 3 - c 3 e 1 - f e 8 1 - a 7 7 6 - c a 4 b 6 9 1 4 8 c 4 d "   m a : o p e n = " t r u e "   m a : i s K e y w o r d = " f a l s e " >  
 < x s d : c o m p l e x T y p e >  
 < x s d : s e q u e n c e >  
 < x s d : e l e m e n t   r e f = " p c : T e r m s "   m i n O c c u r s = " 0 "   m a x O c c u r s = " 1 " > < / x s d : e l e m e n t >  
 < / x s d : s e q u e n c e >  
 < / x s d : c o m p l e x T y p e >  
 < / x s d : e l e m e n t >  
 < x s d : e l e m e n t   n a m e = " M e d i a S e r v i c e O C R "   m a : i n d e x = " 2 0 "   n i l l a b l e = " t r u e "   m a : d i s p l a y N a m e = " E x t r a c t e d   T e x t "   m a : i n t e r n a l N a m e = " M e d i a S e r v i c e O C R "   m a : r e a d O n l y = " t r u e " >  
 < x s d : s i m p l e T y p e >  
 < x s d : r e s t r i c t i o n   b a s e = " d m s : N o t e " >  
 < x s d : m a x L e n g t h   v a l u e = " 2 5 5 " / >  
 < / x s d : r e s t r i c t i o n >  
 < / x s d : s i m p l e T y p e >  
 < / x s d : e l e m e n t >  
 < x s d : e l e m e n t   n a m e = " M e d i a S e r v i c e G e n e r a t i o n T i m e "   m a : i n d e x = " 2 1 "   n i l l a b l e = " t r u e "   m a : d i s p l a y N a m e = " M e d i a S e r v i c e G e n e r a t i o n T i m e "   m a : h i d d e n = " t r u e "   m a : i n t e r n a l N a m e = " M e d i a S e r v i c e G e n e r a t i o n T i m e "   m a : r e a d O n l y = " t r u e " >  
 < x s d : s i m p l e T y p e >  
 < x s d : r e s t r i c t i o n   b a s e = " d m s : T e x t " / >  
 < / x s d : s i m p l e T y p e >  
 < / x s d : e l e m e n t >  
 < x s d : e l e m e n t   n a m e = " M e d i a S e r v i c e E v e n t H a s h C o d e "   m a : i n d e x = " 2 2 "   n i l l a b l e = " t r u e "   m a : d i s p l a y N a m e = " M e d i a S e r v i c e E v e n t H a s h C o d e "   m a : h i d d e n = " t r u e "   m a : i n t e r n a l N a m e = " M e d i a S e r v i c e E v e n t H a s h C o d e "   m a : r e a d O n l y = " t r u e " >  
 < x s d : s i m p l e T y p e >  
 < x s d : r e s t r i c t i o n   b a s e = " d m s : T e x t " / >  
 < / x s d : s i m p l e T y p e >  
 < / x s d : e l e m e n t >  
 < / x s d : s c h e m a >  
 < x s d : s c h e m a   t a r g e t N a m e s p a c e = " 9 7 9 3 4 b 4 b - e b a 6 - 4 8 6 d - b f c 1 - 4 b 8 e 3 f e 3 9 0 9 2 "   e l e m e n t F o r m D e f a u l t = " q u a l i f i e d "   x m l n s : x s d = " h t t p : / / w w w . w 3 . o r g / 2 0 0 1 / X M L S c h e m a "   x m l n s : x s = " h t t p : / / w w w . w 3 . o r g / 2 0 0 1 / X M L S c h e m a "   x m l n s : d m s = " h t t p : / / s c h e m a s . m i c r o s o f t . c o m / o f f i c e / 2 0 0 6 / d o c u m e n t M a n a g e m e n t / t y p e s "   x m l n s : p c = " h t t p : / / s c h e m a s . m i c r o s o f t . c o m / o f f i c e / i n f o p a t h / 2 0 0 7 / P a r t n e r C o n t r o l s " >  
 < x s d : i m p o r t   n a m e s p a c e = " h t t p : / / s c h e m a s . m i c r o s o f t . c o m / o f f i c e / 2 0 0 6 / d o c u m e n t M a n a g e m e n t / t y p e s " / >  
 < x s d : i m p o r t   n a m e s p a c e = " h t t p : / / s c h e m a s . m i c r o s o f t . c o m / o f f i c e / i n f o p a t h / 2 0 0 7 / P a r t n e r C o n t r o l s " / >  
 < x s d : e l e m e n t   n a m e = " S h a r e d W i t h U s e r s "   m a : i n d e x = " 1 3 "   n i l l a b l e = " t r u e "   m a : d i s p l a y N a m e = " S h a r e d   W i t h "   m a : i n t e r n a l N a m e = " S h a r e d W i t h U s e r s "   m a : r e a d O n l y = " t r u e " >  
 < x s d : c o m p l e x T y p e >  
 < x s d : c o m p l e x C o n t e n t >  
 < x s d : e x t e n s i o n   b a s e = " d m s : U s e r M u l t i " >  
 < x s d : s e q u e n c e >  
 < x s d : e l e m e n t   n a m e = " U s e r I n f o "   m i n O c c u r s = " 0 "   m a x O c c u r s = " u n b o u n d e d " >  
 < x s d : c o m p l e x T y p e >  
 < x s d : s e q u e n c e >  
 < x s d : e l e m e n t   n a m e = " D i s p l a y N a m e "   t y p e = " x s d : s t r i n g "   m i n O c c u r s = " 0 " / >  
 < x s d : e l e m e n t   n a m e = " A c c o u n t I d "   t y p e = " d m s : U s e r I d "   m i n O c c u r s = " 0 "   n i l l a b l e = " t r u e " / >  
 < x s d : e l e m e n t   n a m e = " A c c o u n t T y p e "   t y p e = " x s d : s t r i n g "   m i n O c c u r s = " 0 " / >  
 < / x s d : s e q u e n c e >  
 < / x s d : c o m p l e x T y p e >  
 < / x s d : e l e m e n t >  
 < / x s d : s e q u e n c e >  
 < / x s d : e x t e n s i o n >  
 < / x s d : c o m p l e x C o n t e n t >  
 < / x s d : c o m p l e x T y p e >  
 < / x s d : e l e m e n t >  
 < x s d : e l e m e n t   n a m e = " S h a r e d W i t h D e t a i l s "   m a : i n d e x = " 1 4 "   n i l l a b l e = " t r u e "   m a : d i s p l a y N a m e = " S h a r e d   W i t h   D e t a i l s "   m a : i n t e r n a l N a m e = " S h a r e d W i t h D e t a i l s "   m a : r e a d O n l y = " t r u e " >  
 < x s d : s i m p l e T y p e >  
 < x s d : r e s t r i c t i o n   b a s e = " d m s : N o t e " >  
 < x s d : m a x L e n g t h   v a l u e = " 2 5 5 " / >  
 < / x s d : r e s t r i c t i o n >  
 < / x s d : s i m p l e T y p e >  
 < / x s d : e l e m e n t >  
 < x s d : e l e m e n t   n a m e = " T a x C a t c h A l l "   m a : i n d e x = " 1 9 "   n i l l a b l e = " t r u e "   m a : d i s p l a y N a m e = " T a x o n o m y   C a t c h   A l l   C o l u m n "   m a : h i d d e n = " t r u e "   m a : l i s t = " { a 8 8 5 a a 0 b - 3 3 4 b - 4 8 3 f - 9 1 2 5 - 6 4 0 9 c 6 3 3 5 a 4 b } "   m a : i n t e r n a l N a m e = " T a x C a t c h A l l "   m a : s h o w F i e l d = " C a t c h A l l D a t a "   m a : w e b = " 9 7 9 3 4 b 4 b - e b a 6 - 4 8 6 d - b f c 1 - 4 b 8 e 3 f e 3 9 0 9 2 " >  
 < x s d : c o m p l e x T y p e >  
 < x s d : c o m p l e x C o n t e n t >  
 < x s d : e x t e n s i o n   b a s e = " d m s : M u l t i C h o i c e L o o k u p " >  
 < x s d : s e q u e n c e >  
 < x s d : e l e m e n t   n a m e = " V a l u e "   t y p e = " d m s : L o o k u p "   m a x O c c u r s = " u n b o u n d e d "   m i n O c c u r s = " 0 "   n i l l a b l e = " t r u e " / >  
 < / x s d : s e q u e n c e >  
 < / x s d : e x t e n s i o n >  
 < / x s d : c o m p l e x C o n t e n t >  
 < / x s d : c o m p l e x T y p e >  
 < / x s d : e l e m e n t >  
 < / x s d : s c h e m a >  
 < x s d : s c h e m a   t a r g e t N a m e s p a c e = " h t t p : / / s c h e m a s . o p e n x m l f o r m a t s . o r g / p a c k a g e / 2 0 0 6 / m e t a d a t a / c o r e - p r o p e r t i e s "   e l e m e n t F o r m D e f a u l t = " q u a l i f i e d "   a t t r i b u t e F o r m D e f a u l t = " u n q u a l i f i e d "   b l o c k D e f a u l t = " # a l l "   x m l n s = " h t t p : / / s c h e m a s . o p e n x m l f o r m a t s . o r g / p a c k a g e / 2 0 0 6 / m e t a d a t a / c o r e - p r o p e r t i e s "   x m l n s : x s d = " h t t p : / / w w w . w 3 . o r g / 2 0 0 1 / X M L S c h e m a "   x m l n s : x s i = " h t t p : / / w w w . w 3 . o r g / 2 0 0 1 / X M L S c h e m a - i n s t a n c e "   x m l n s : d c = " h t t p : / / p u r l . o r g / d c / e l e m e n t s / 1 . 1 / "   x m l n s : d c t e r m s = " h t t p : / / p u r l . o r g / d c / t e r m s / "   x m l n s : o d o c = " h t t p : / / s c h e m a s . m i c r o s o f t . c o m / i n t e r n a l / o b d " >  
 < x s d : i m p o r t   n a m e s p a c e = " h t t p : / / p u r l . o r g / d c / e l e m e n t s / 1 . 1 / "   s c h e m a L o c a t i o n = " h t t p : / / d u b l i n c o r e . o r g / s c h e m a s / x m l s / q d c / 2 0 0 3 / 0 4 / 0 2 / d c . x s d " / >  
 < x s d : i m p o r t   n a m e s p a c e = " h t t p : / / p u r l . o r g / d c / t e r m s / "   s c h e m a L o c a t i o n = " h t t p : / / d u b l i n c o r e . o r g / s c h e m a s / x m l s / q d c / 2 0 0 3 / 0 4 / 0 2 / d c t e r m s . x s d " / >  
 < x s d : e l e m e n t   n a m e = " c o r e P r o p e r t i e s "   t y p e = " C T _ c o r e P r o p e r t i e s " / >  
 < x s d : c o m p l e x T y p e   n a m e = " C T _ c o r e P r o p e r t i e s " >  
 < x s d : a l l >  
 < x s d : e l e m e n t   r e f = " d c : c r e a t o r "   m i n O c c u r s = " 0 "   m a x O c c u r s = " 1 " / >  
 < x s d : e l e m e n t   r e f = " d c t e r m s : c r e a t e d "   m i n O c c u r s = " 0 "   m a x O c c u r s = " 1 " / >  
 < x s d : e l e m e n t   r e f = " d c : i d e n t i f i e r "   m i n O c c u r s = " 0 "   m a x O c c u r s = " 1 " / >  
 < x s d : e l e m e n t   n a m e = " c o n t e n t T y p e "   m i n O c c u r s = " 0 "   m a x O c c u r s = " 1 "   t y p e = " x s d : s t r i n g "   m a : i n d e x = " 0 "   m a : d i s p l a y N a m e = " C o n t e n t   T y p e " / >  
 < x s d : e l e m e n t   r e f = " d c : t i t l e "   m i n O c c u r s = " 0 "   m a x O c c u r s = " 1 "   m a : i n d e x = " 4 "   m a : d i s p l a y N a m e = " T i t l e " / >  
 < x s d : e l e m e n t   r e f = " d c : s u b j e c t "   m i n O c c u r s = " 0 "   m a x O c c u r s = " 1 " / >  
 < x s d : e l e m e n t   r e f = " d c : d e s c r i p t i o n "   m i n O c c u r s = " 0 "   m a x O c c u r s = " 1 " / >  
 < x s d : e l e m e n t   n a m e = " k e y w o r d s "   m i n O c c u r s = " 0 "   m a x O c c u r s = " 1 "   t y p e = " x s d : s t r i n g " / >  
 < x s d : e l e m e n t   r e f = " d c : l a n g u a g e "   m i n O c c u r s = " 0 "   m a x O c c u r s = " 1 " / >  
 < x s d : e l e m e n t   n a m e = " c a t e g o r y "   m i n O c c u r s = " 0 "   m a x O c c u r s = " 1 "   t y p e = " x s d : s t r i n g " / >  
 < x s d : e l e m e n t   n a m e = " v e r s i o n "   m i n O c c u r s = " 0 "   m a x O c c u r s = " 1 "   t y p e = " x s d : s t r i n g " / >  
 < x s d : e l e m e n t   n a m e = " r e v i s i o n "   m i n O c c u r s = " 0 "   m a x O c c u r s = " 1 "   t y p e = " x s d : s t r i n g " >  
 < x s d : a n n o t a t i o n >  
 < x s d : d o c u m e n t a t i o n >  
                                                 T h i s   v a l u e   i n d i c a t e s   t h e   n u m b e r   o f   s a v e s   o r   r e v i s i o n s .   T h e   a p p l i c a t i o n   i s   r e s p o n s i b l e   f o r   u p d a t i n g   t h i s   v a l u e   a f t e r   e a c h   r e v i s i o n .  
                                         < / x s d : d o c u m e n t a t i o n >  
 < / x s d : a n n o t a t i o n >  
 < / x s d : e l e m e n t >  
 < x s d : e l e m e n t   n a m e = " l a s t M o d i f i e d B y "   m i n O c c u r s = " 0 "   m a x O c c u r s = " 1 "   t y p e = " x s d : s t r i n g " / >  
 < x s d : e l e m e n t   r e f = " d c t e r m s : m o d i f i e d "   m i n O c c u r s = " 0 "   m a x O c c u r s = " 1 " / >  
 < x s d : e l e m e n t   n a m e = " c o n t e n t S t a t u s "   m i n O c c u r s = " 0 "   m a x O c c u r s = " 1 "   t y p e = " x s d : s t r i n g " / >  
 < / x s d : a l l >  
 < / x s d : c o m p l e x T y p e >  
 < / x s d : s c h e m a >  
 < x s : s c h e m a   t a r g e t N a m e s p a c e = " h t t p : / / s c h e m a s . m i c r o s o f t . c o m / o f f i c e / i n f o p a t h / 2 0 0 7 / P a r t n e r C o n t r o l s "   e l e m e n t F o r m D e f a u l t = " q u a l i f i e d "   a t t r i b u t e F o r m D e f a u l t = " u n q u a l i f i e d "   x m l n s : p c = " h t t p : / / s c h e m a s . m i c r o s o f t . c o m / o f f i c e / i n f o p a t h / 2 0 0 7 / P a r t n e r C o n t r o l s "   x m l n s : x s = " h t t p : / / w w w . w 3 . o r g / 2 0 0 1 / X M L S c h e m a " >  
 < x s : e l e m e n t   n a m e = " P e r s o n " >  
 < x s : c o m p l e x T y p e >  
 < x s : s e q u e n c e >  
 < x s : e l e m e n t   r e f = " p c : D i s p l a y N a m e "   m i n O c c u r s = " 0 " > < / x s : e l e m e n t >  
 < x s : e l e m e n t   r e f = " p c : A c c o u n t I d "   m i n O c c u r s = " 0 " > < / x s : e l e m e n t >  
 < x s : e l e m e n t   r e f = " p c : A c c o u n t T y p e "   m i n O c c u r s = " 0 " > < / x s : e l e m e n t >  
 < / x s : s e q u e n c e >  
 < / x s : c o m p l e x T y p e >  
 < / x s : e l e m e n t >  
 < x s : e l e m e n t   n a m e = " D i s p l a y N a m e "   t y p e = " x s : s t r i n g " > < / x s : e l e m e n t >  
 < x s : e l e m e n t   n a m e = " A c c o u n t I d "   t y p e = " x s : s t r i n g " > < / x s : e l e m e n t >  
 < x s : e l e m e n t   n a m e = " A c c o u n t T y p e "   t y p e = " x s : s t r i n g " > < / x s : e l e m e n t >  
 < x s : e l e m e n t   n a m e = " B D C A s s o c i a t e d E n t i t y " >  
 < x s : c o m p l e x T y p e >  
 < x s : s e q u e n c e >  
 < x s : e l e m e n t   r e f = " p c : B D C E n t i t y "   m i n O c c u r s = " 0 "   m a x O c c u r s = " u n b o u n d e d " > < / x s : e l e m e n t >  
 < / x s : s e q u e n c e >  
 < x s : a t t r i b u t e   r e f = " p c : E n t i t y N a m e s p a c e " > < / x s : a t t r i b u t e >  
 < x s : a t t r i b u t e   r e f = " p c : E n t i t y N a m e " > < / x s : a t t r i b u t e >  
 < x s : a t t r i b u t e   r e f = " p c : S y s t e m I n s t a n c e N a m e " > < / x s : a t t r i b u t e >  
 < x s : a t t r i b u t e   r e f = " p c : A s s o c i a t i o n N a m e " > < / x s : a t t r i b u t e >  
 < / x s : c o m p l e x T y p e >  
 < / x s : e l e m e n t >  
 < x s : a t t r i b u t e   n a m e = " E n t i t y N a m e s p a c e "   t y p e = " x s : s t r i n g " > < / x s : a t t r i b u t e >  
 < x s : a t t r i b u t e   n a m e = " E n t i t y N a m e "   t y p e = " x s : s t r i n g " > < / x s : a t t r i b u t e >  
 < x s : a t t r i b u t e   n a m e = " S y s t e m I n s t a n c e N a m e "   t y p e = " x s : s t r i n g " > < / x s : a t t r i b u t e >  
 < x s : a t t r i b u t e   n a m e = " A s s o c i a t i o n N a m e "   t y p e = " x s : s t r i n g " > < / x s : a t t r i b u t e >  
 < x s : e l e m e n t   n a m e = " B D C E n t i t y " >  
 < x s : c o m p l e x T y p e >  
 < x s : s e q u e n c e >  
 < x s : e l e m e n t   r e f = " p c : E n t i t y D i s p l a y N a m e "   m i n O c c u r s = " 0 " > < / x s : e l e m e n t >  
 < x s : e l e m e n t   r e f = " p c : E n t i t y I n s t a n c e R e f e r e n c e "   m i n O c c u r s = " 0 " > < / x s : e l e m e n t >  
 < x s : e l e m e n t   r e f = " p c : E n t i t y I d 1 "   m i n O c c u r s = " 0 " > < / x s : e l e m e n t >  
 < x s : e l e m e n t   r e f = " p c : E n t i t y I d 2 "   m i n O c c u r s = " 0 " > < / x s : e l e m e n t >  
 < x s : e l e m e n t   r e f = " p c : E n t i t y I d 3 "   m i n O c c u r s = " 0 " > < / x s : e l e m e n t >  
 < x s : e l e m e n t   r e f = " p c : E n t i t y I d 4 "   m i n O c c u r s = " 0 " > < / x s : e l e m e n t >  
 < x s : e l e m e n t   r e f = " p c : E n t i t y I d 5 "   m i n O c c u r s = " 0 " > < / x s : e l e m e n t >  
 < / x s : s e q u e n c e >  
 < / x s : c o m p l e x T y p e >  
 < / x s : e l e m e n t >  
 < x s : e l e m e n t   n a m e = " E n t i t y D i s p l a y N a m e "   t y p e = " x s : s t r i n g " > < / x s : e l e m e n t >  
 < x s : e l e m e n t   n a m e = " E n t i t y I n s t a n c e R e f e r e n c e "   t y p e = " x s : s t r i n g " > < / x s : e l e m e n t >  
 < x s : e l e m e n t   n a m e = " E n t i t y I d 1 "   t y p e = " x s : s t r i n g " > < / x s : e l e m e n t >  
 < x s : e l e m e n t   n a m e = " E n t i t y I d 2 "   t y p e = " x s : s t r i n g " > < / x s : e l e m e n t >  
 < x s : e l e m e n t   n a m e = " E n t i t y I d 3 "   t y p e = " x s : s t r i n g " > < / x s : e l e m e n t >  
 < x s : e l e m e n t   n a m e = " E n t i t y I d 4 "   t y p e = " x s : s t r i n g " > < / x s : e l e m e n t >  
 < x s : e l e m e n t   n a m e = " E n t i t y I d 5 "   t y p e = " x s : s t r i n g " > < / x s : e l e m e n t >  
 < x s : e l e m e n t   n a m e = " T e r m s " >  
 < x s : c o m p l e x T y p e >  
 < x s : s e q u e n c e >  
 < x s : e l e m e n t   r e f = " p c : T e r m I n f o "   m i n O c c u r s = " 0 "   m a x O c c u r s = " u n b o u n d e d " > < / x s : e l e m e n t >  
 < / x s : s e q u e n c e >  
 < / x s : c o m p l e x T y p e >  
 < / x s : e l e m e n t >  
 < x s : e l e m e n t   n a m e = " T e r m I n f o " >  
 < x s : c o m p l e x T y p e >  
 < x s : s e q u e n c e >  
 < x s : e l e m e n t   r e f = " p c : T e r m N a m e "   m i n O c c u r s = " 0 " > < / x s : e l e m e n t >  
 < x s : e l e m e n t   r e f = " p c : T e r m I d "   m i n O c c u r s = " 0 " > < / x s : e l e m e n t >  
 < / x s : s e q u e n c e >  
 < / x s : c o m p l e x T y p e >  
 < / x s : e l e m e n t >  
 < x s : e l e m e n t   n a m e = " T e r m N a m e "   t y p e = " x s : s t r i n g " > < / x s : e l e m e n t >  
 < x s : e l e m e n t   n a m e = " T e r m I d "   t y p e = " x s : s t r i n g " > < / x s : e l e m e n t >  
 < / x s : s c h e m a >  
 < / c t : c o n t e n t T y p e S c h e m a > 
</file>

<file path=customXml/item2.xml>��< ? m s o - c o n t e n t T y p e ? > < F o r m T e m p l a t e s   x m l n s = " h t t p : / / s c h e m a s . m i c r o s o f t . c o m / s h a r e p o i n t / v 3 / c o n t e n t t y p e / f o r m s " > < D i s p l a y > D o c u m e n t L i b r a r y F o r m < / D i s p l a y > < E d i t > D o c u m e n t L i b r a r y F o r m < / E d i t > < N e w > D o c u m e n t L i b r a r y F o r m < / N e w > < / F o r m T e m p l a t e s > 
</file>

<file path=customXml/item3.xml>��< ? x m l   v e r s i o n = " 1 . 0 " ? > < p : p r o p e r t i e s   x m l n s : p = " h t t p : / / s c h e m a s . m i c r o s o f t . c o m / o f f i c e / 2 0 0 6 / m e t a d a t a / p r o p e r t i e s "   x m l n s : x s i = " h t t p : / / w w w . w 3 . o r g / 2 0 0 1 / X M L S c h e m a - i n s t a n c e "   x m l n s : p c = " h t t p : / / s c h e m a s . m i c r o s o f t . c o m / o f f i c e / i n f o p a t h / 2 0 0 7 / P a r t n e r C o n t r o l s " > < d o c u m e n t M a n a g e m e n t > < T a x C a t c h A l l   x m l n s = " 9 7 9 3 4 b 4 b - e b a 6 - 4 8 6 d - b f c 1 - 4 b 8 e 3 f e 3 9 0 9 2 "   x s i : n i l = " t r u e " / > < l c f 7 6 f 1 5 5 c e d 4 d d c b 4 0 9 7 1 3 4 f f 3 c 3 3 2 f   x m l n s = " 0 a 5 c 0 d e a - e 5 d 7 - 4 2 2 8 - 9 2 5 6 - 3 7 9 3 b b 4 2 f a a 5 " > < T e r m s   x m l n s = " h t t p : / / s c h e m a s . m i c r o s o f t . c o m / o f f i c e / i n f o p a t h / 2 0 0 7 / P a r t n e r C o n t r o l s " > < / T e r m s > < / l c f 7 6 f 1 5 5 c e d 4 d d c b 4 0 9 7 1 3 4 f f 3 c 3 3 2 f > < O n e N o t e F l u i d _ F i l e O r d e r   x m l n s = " 0 a 5 c 0 d e a - e 5 d 7 - 4 2 2 8 - 9 2 5 6 - 3 7 9 3 b b 4 2 f a a 5 "   x s i : n i l = " t r u e " / > < _ i p _ U n i f i e d C o m p l i a n c e P o l i c y U I A c t i o n   x m l n s = " h t t p : / / s c h e m a s . m i c r o s o f t . c o m / s h a r e p o i n t / v 3 "   x s i : n i l = " t r u e " / > < _ i p _ U n i f i e d C o m p l i a n c e P o l i c y P r o p e r t i e s   x m l n s = " h t t p : / / s c h e m a s . m i c r o s o f t . c o m / s h a r e p o i n t / v 3 "   x s i : n i l = " t r u e " / > < / d o c u m e n t M a n a g e m e n t > < / p : p r o p e r t i e s > 
</file>

<file path=customXml/itemProps1.xml><?xml version="1.0" encoding="utf-8"?>
<ds:datastoreItem xmlns:ds="http://schemas.openxmlformats.org/officeDocument/2006/customXml" ds:itemID="{9DC565CF-E365-41E1-ABB3-6C1B3190D7A3}">
  <ds:schemaRefs/>
</ds:datastoreItem>
</file>

<file path=customXml/itemProps2.xml><?xml version="1.0" encoding="utf-8"?>
<ds:datastoreItem xmlns:ds="http://schemas.openxmlformats.org/officeDocument/2006/customXml" ds:itemID="{877FF2D2-9BD3-4790-BFED-3981CAEBF80C}">
  <ds:schemaRefs/>
</ds:datastoreItem>
</file>

<file path=customXml/itemProps3.xml><?xml version="1.0" encoding="utf-8"?>
<ds:datastoreItem xmlns:ds="http://schemas.openxmlformats.org/officeDocument/2006/customXml" ds:itemID="{8F2A629F-7CA7-489F-B389-D71278E9A23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897</Words>
  <Application>WPS 演示</Application>
  <PresentationFormat>宽屏</PresentationFormat>
  <Paragraphs>46</Paragraphs>
  <Slides>5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5</vt:i4>
      </vt:variant>
    </vt:vector>
  </HeadingPairs>
  <TitlesOfParts>
    <vt:vector size="17" baseType="lpstr">
      <vt:lpstr>Arial</vt:lpstr>
      <vt:lpstr>宋体</vt:lpstr>
      <vt:lpstr>Wingdings</vt:lpstr>
      <vt:lpstr>Calibri Light</vt:lpstr>
      <vt:lpstr>Arial Black</vt:lpstr>
      <vt:lpstr>微软雅黑</vt:lpstr>
      <vt:lpstr>Arial Unicode MS</vt:lpstr>
      <vt:lpstr>Calibri</vt:lpstr>
      <vt:lpstr>等线</vt:lpstr>
      <vt:lpstr>OfficePLUS主题</vt:lpstr>
      <vt:lpstr>TCLayout.ActiveDocument.1</vt:lpstr>
      <vt:lpstr>TCLayout.ActiveDocument.1</vt:lpstr>
      <vt:lpstr>the Title of Your Presentation</vt:lpstr>
      <vt:lpstr>Click to edit Master title style</vt:lpstr>
      <vt:lpstr>Results</vt:lpstr>
      <vt:lpstr>Conclusions/Recommendations</vt:lpstr>
      <vt:lpstr>Thanks 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会务小二</cp:lastModifiedBy>
  <cp:revision>5</cp:revision>
  <cp:lastPrinted>2019-12-17T16:00:00Z</cp:lastPrinted>
  <dcterms:created xsi:type="dcterms:W3CDTF">2019-12-17T16:00:00Z</dcterms:created>
  <dcterms:modified xsi:type="dcterms:W3CDTF">2024-07-25T06:58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ContentTypeId">
    <vt:lpwstr>0x010100D1443A8EF62DE444B1FF07917E22EF72</vt:lpwstr>
  </property>
  <property fmtid="{D5CDD505-2E9C-101B-9397-08002B2CF9AE}" pid="4" name="ICV">
    <vt:lpwstr>9DAA6EF02E8D40148163FF0D5B763220_13</vt:lpwstr>
  </property>
  <property fmtid="{D5CDD505-2E9C-101B-9397-08002B2CF9AE}" pid="5" name="KSOProductBuildVer">
    <vt:lpwstr>2052-12.1.0.17468</vt:lpwstr>
  </property>
</Properties>
</file>